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F278B-FE6A-F19D-D291-AAA36421D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4EFDC7-0752-5374-1F6E-F15E314A4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EFDC7-0752-5374-1F6E-F15E314A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4AF73D-2433-2C5D-EA95-A3C270F03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92A8B07-2521-1FA5-6E9C-757C8BFF504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D7088C7-4AC8-21CF-2EBC-DC0870F797F1}"/>
              </a:ext>
            </a:extLst>
          </p:cNvPr>
          <p:cNvGraphicFramePr>
            <a:graphicFrameLocks noGrp="1"/>
          </p:cNvGraphicFramePr>
          <p:nvPr/>
        </p:nvGraphicFramePr>
        <p:xfrm>
          <a:off x="605863" y="1184554"/>
          <a:ext cx="11156599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798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453502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rgbClr val="FFFFFF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2348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7607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8</TotalTime>
  <Words>30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74</cp:revision>
  <dcterms:created xsi:type="dcterms:W3CDTF">2021-03-31T02:49:57Z</dcterms:created>
  <dcterms:modified xsi:type="dcterms:W3CDTF">2025-10-16T10:40:30Z</dcterms:modified>
  <cp:category/>
</cp:coreProperties>
</file>